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82472" autoAdjust="0"/>
  </p:normalViewPr>
  <p:slideViewPr>
    <p:cSldViewPr snapToGrid="0" snapToObjects="1" showGuides="1">
      <p:cViewPr varScale="1">
        <p:scale>
          <a:sx n="95" d="100"/>
          <a:sy n="95" d="100"/>
        </p:scale>
        <p:origin x="1020" y="72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6/05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6/05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Ville Durable et Bâtiments Innovants</a:t>
            </a:r>
          </a:p>
          <a:p>
            <a:r>
              <a:rPr lang="fr-FR" b="1" dirty="0"/>
              <a:t>Appel à Projet </a:t>
            </a:r>
            <a:r>
              <a:rPr lang="fr-FR" b="1"/>
              <a:t>: Hors Sit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3018731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innovant : Caractère innovant du projet à préciser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d’industrialisation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Intégration du projet au sein de la région à minima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118264" y="1544507"/>
            <a:ext cx="7464136" cy="514723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ocalisa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d’industrialisation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Unité d’œuvre en sortie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ypologie des ressources (bois ou autres </a:t>
            </a:r>
            <a:r>
              <a:rPr lang="fr-FR" i="1" dirty="0" err="1"/>
              <a:t>géosourcés</a:t>
            </a:r>
            <a:r>
              <a:rPr lang="fr-FR" i="1" dirty="0"/>
              <a:t>, bois recyclés, feuillus, résineux…)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Si projet portant sur les matériaux bois ou biosourcés : </a:t>
            </a:r>
          </a:p>
          <a:p>
            <a:pPr marL="12181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 d’approvisionnement</a:t>
            </a:r>
          </a:p>
          <a:p>
            <a:pPr marL="1218150" lvl="2" indent="-196850">
              <a:buFont typeface="Arial" panose="020B0604020202020204" pitchFamily="34" charset="0"/>
              <a:buChar char="•"/>
            </a:pPr>
            <a:r>
              <a:rPr lang="fr-FR" i="1" dirty="0"/>
              <a:t>% visé de taux de contractualisation à horizon 2025</a:t>
            </a:r>
          </a:p>
          <a:p>
            <a:pPr marL="1218150" lvl="2" indent="-196850">
              <a:buFont typeface="Arial" panose="020B0604020202020204" pitchFamily="34" charset="0"/>
              <a:buChar char="•"/>
            </a:pPr>
            <a:r>
              <a:rPr lang="fr-FR" i="1" dirty="0"/>
              <a:t>Certification durable envisagé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2</TotalTime>
  <Words>1701</Words>
  <Application>Microsoft Office PowerPoint</Application>
  <PresentationFormat>Grand écran</PresentationFormat>
  <Paragraphs>220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5" baseType="lpstr">
      <vt:lpstr>ＭＳ Ｐゴシック</vt:lpstr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MACAIRE Michaël</cp:lastModifiedBy>
  <cp:revision>826</cp:revision>
  <cp:lastPrinted>2017-04-19T15:45:38Z</cp:lastPrinted>
  <dcterms:created xsi:type="dcterms:W3CDTF">2015-06-10T16:17:23Z</dcterms:created>
  <dcterms:modified xsi:type="dcterms:W3CDTF">2024-05-16T05:23:48Z</dcterms:modified>
</cp:coreProperties>
</file>